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Ex45.xml" ContentType="application/vnd.ms-office.chartex+xml"/>
  <Override PartName="/ppt/charts/style45.xml" ContentType="application/vnd.ms-office.chartstyle+xml"/>
  <Override PartName="/ppt/charts/colors45.xml" ContentType="application/vnd.ms-office.chartcolorstyle+xml"/>
  <Override PartName="/ppt/charts/chartEx46.xml" ContentType="application/vnd.ms-office.chartex+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Ex47.xml" ContentType="application/vnd.ms-office.chartex+xml"/>
  <Override PartName="/ppt/charts/style47.xml" ContentType="application/vnd.ms-office.chartstyle+xml"/>
  <Override PartName="/ppt/charts/colors47.xml" ContentType="application/vnd.ms-office.chartcolorstyle+xml"/>
  <Override PartName="/ppt/charts/chartEx48.xml" ContentType="application/vnd.ms-office.chartex+xml"/>
  <Override PartName="/ppt/charts/style48.xml" ContentType="application/vnd.ms-office.chartstyle+xml"/>
  <Override PartName="/ppt/charts/colors48.xml" ContentType="application/vnd.ms-office.chartcolorstyle+xml"/>
  <Override PartName="/ppt/notesSlides/notesSlide25.xml" ContentType="application/vnd.openxmlformats-officedocument.presentationml.notesSlide+xml"/>
  <Override PartName="/ppt/charts/chartEx49.xml" ContentType="application/vnd.ms-office.chartex+xml"/>
  <Override PartName="/ppt/charts/style49.xml" ContentType="application/vnd.ms-office.chartstyle+xml"/>
  <Override PartName="/ppt/charts/colors49.xml" ContentType="application/vnd.ms-office.chartcolorstyle+xml"/>
  <Override PartName="/ppt/charts/chartEx50.xml" ContentType="application/vnd.ms-office.chartex+xml"/>
  <Override PartName="/ppt/charts/style50.xml" ContentType="application/vnd.ms-office.chartstyle+xml"/>
  <Override PartName="/ppt/charts/colors50.xml" ContentType="application/vnd.ms-office.chartcolorstyle+xml"/>
  <Override PartName="/ppt/notesSlides/notesSlide26.xml" ContentType="application/vnd.openxmlformats-officedocument.presentationml.notesSlide+xml"/>
  <Override PartName="/ppt/charts/chartEx51.xml" ContentType="application/vnd.ms-office.chartex+xml"/>
  <Override PartName="/ppt/charts/style51.xml" ContentType="application/vnd.ms-office.chartstyle+xml"/>
  <Override PartName="/ppt/charts/colors51.xml" ContentType="application/vnd.ms-office.chartcolorstyle+xml"/>
  <Override PartName="/ppt/charts/chartEx52.xml" ContentType="application/vnd.ms-office.chartex+xml"/>
  <Override PartName="/ppt/charts/style52.xml" ContentType="application/vnd.ms-office.chartstyle+xml"/>
  <Override PartName="/ppt/charts/colors52.xml" ContentType="application/vnd.ms-office.chartcolorstyle+xml"/>
  <Override PartName="/ppt/notesSlides/notesSlide27.xml" ContentType="application/vnd.openxmlformats-officedocument.presentationml.notesSlide+xml"/>
  <Override PartName="/ppt/charts/chartEx53.xml" ContentType="application/vnd.ms-office.chartex+xml"/>
  <Override PartName="/ppt/charts/style53.xml" ContentType="application/vnd.ms-office.chartstyle+xml"/>
  <Override PartName="/ppt/charts/colors53.xml" ContentType="application/vnd.ms-office.chartcolorstyle+xml"/>
  <Override PartName="/ppt/charts/chartEx54.xml" ContentType="application/vnd.ms-office.chartex+xml"/>
  <Override PartName="/ppt/charts/style54.xml" ContentType="application/vnd.ms-office.chartstyle+xml"/>
  <Override PartName="/ppt/charts/colors54.xml" ContentType="application/vnd.ms-office.chartcolorstyle+xml"/>
  <Override PartName="/ppt/notesSlides/notesSlide28.xml" ContentType="application/vnd.openxmlformats-officedocument.presentationml.notesSlide+xml"/>
  <Override PartName="/ppt/charts/chartEx55.xml" ContentType="application/vnd.ms-office.chartex+xml"/>
  <Override PartName="/ppt/charts/style55.xml" ContentType="application/vnd.ms-office.chartstyle+xml"/>
  <Override PartName="/ppt/charts/colors55.xml" ContentType="application/vnd.ms-office.chartcolorstyle+xml"/>
  <Override PartName="/ppt/charts/chartEx56.xml" ContentType="application/vnd.ms-office.chartex+xml"/>
  <Override PartName="/ppt/charts/style56.xml" ContentType="application/vnd.ms-office.chartstyle+xml"/>
  <Override PartName="/ppt/charts/colors56.xml" ContentType="application/vnd.ms-office.chartcolorstyle+xml"/>
  <Override PartName="/ppt/notesSlides/notesSlide29.xml" ContentType="application/vnd.openxmlformats-officedocument.presentationml.notesSlide+xml"/>
  <Override PartName="/ppt/charts/chartEx57.xml" ContentType="application/vnd.ms-office.chartex+xml"/>
  <Override PartName="/ppt/charts/style57.xml" ContentType="application/vnd.ms-office.chartstyle+xml"/>
  <Override PartName="/ppt/charts/colors57.xml" ContentType="application/vnd.ms-office.chartcolorstyle+xml"/>
  <Override PartName="/ppt/charts/chartEx58.xml" ContentType="application/vnd.ms-office.chartex+xml"/>
  <Override PartName="/ppt/charts/style58.xml" ContentType="application/vnd.ms-office.chartstyle+xml"/>
  <Override PartName="/ppt/charts/colors58.xml" ContentType="application/vnd.ms-office.chartcolorstyle+xml"/>
  <Override PartName="/ppt/notesSlides/notesSlide30.xml" ContentType="application/vnd.openxmlformats-officedocument.presentationml.notesSlide+xml"/>
  <Override PartName="/ppt/charts/chartEx59.xml" ContentType="application/vnd.ms-office.chartex+xml"/>
  <Override PartName="/ppt/charts/style59.xml" ContentType="application/vnd.ms-office.chartstyle+xml"/>
  <Override PartName="/ppt/charts/colors59.xml" ContentType="application/vnd.ms-office.chartcolorstyle+xml"/>
  <Override PartName="/ppt/charts/chartEx60.xml" ContentType="application/vnd.ms-office.chartex+xml"/>
  <Override PartName="/ppt/charts/style60.xml" ContentType="application/vnd.ms-office.chartstyle+xml"/>
  <Override PartName="/ppt/charts/colors60.xml" ContentType="application/vnd.ms-office.chartcolorstyle+xml"/>
  <Override PartName="/ppt/notesSlides/notesSlide31.xml" ContentType="application/vnd.openxmlformats-officedocument.presentationml.notesSlide+xml"/>
  <Override PartName="/ppt/charts/chartEx61.xml" ContentType="application/vnd.ms-office.chartex+xml"/>
  <Override PartName="/ppt/charts/style61.xml" ContentType="application/vnd.ms-office.chartstyle+xml"/>
  <Override PartName="/ppt/charts/colors61.xml" ContentType="application/vnd.ms-office.chartcolorstyle+xml"/>
  <Override PartName="/ppt/charts/chartEx62.xml" ContentType="application/vnd.ms-office.chartex+xml"/>
  <Override PartName="/ppt/charts/style62.xml" ContentType="application/vnd.ms-office.chartstyle+xml"/>
  <Override PartName="/ppt/charts/colors62.xml" ContentType="application/vnd.ms-office.chartcolorstyle+xml"/>
  <Override PartName="/ppt/notesSlides/notesSlide32.xml" ContentType="application/vnd.openxmlformats-officedocument.presentationml.notesSlide+xml"/>
  <Override PartName="/ppt/charts/chartEx63.xml" ContentType="application/vnd.ms-office.chartex+xml"/>
  <Override PartName="/ppt/charts/style63.xml" ContentType="application/vnd.ms-office.chartstyle+xml"/>
  <Override PartName="/ppt/charts/colors63.xml" ContentType="application/vnd.ms-office.chartcolorstyle+xml"/>
  <Override PartName="/ppt/charts/chartEx64.xml" ContentType="application/vnd.ms-office.chartex+xml"/>
  <Override PartName="/ppt/charts/style64.xml" ContentType="application/vnd.ms-office.chartstyle+xml"/>
  <Override PartName="/ppt/charts/colors64.xml" ContentType="application/vnd.ms-office.chartcolorstyle+xml"/>
  <Override PartName="/ppt/notesSlides/notesSlide33.xml" ContentType="application/vnd.openxmlformats-officedocument.presentationml.notesSlide+xml"/>
  <Override PartName="/ppt/charts/chartEx65.xml" ContentType="application/vnd.ms-office.chartex+xml"/>
  <Override PartName="/ppt/charts/style65.xml" ContentType="application/vnd.ms-office.chartstyle+xml"/>
  <Override PartName="/ppt/charts/colors65.xml" ContentType="application/vnd.ms-office.chartcolorstyle+xml"/>
  <Override PartName="/ppt/charts/chartEx66.xml" ContentType="application/vnd.ms-office.chartex+xml"/>
  <Override PartName="/ppt/charts/style66.xml" ContentType="application/vnd.ms-office.chartstyle+xml"/>
  <Override PartName="/ppt/charts/colors66.xml" ContentType="application/vnd.ms-office.chartcolorstyle+xml"/>
  <Override PartName="/ppt/notesSlides/notesSlide34.xml" ContentType="application/vnd.openxmlformats-officedocument.presentationml.notesSlide+xml"/>
  <Override PartName="/ppt/charts/chartEx67.xml" ContentType="application/vnd.ms-office.chartex+xml"/>
  <Override PartName="/ppt/charts/style67.xml" ContentType="application/vnd.ms-office.chartstyle+xml"/>
  <Override PartName="/ppt/charts/colors67.xml" ContentType="application/vnd.ms-office.chartcolorstyle+xml"/>
  <Override PartName="/ppt/charts/chartEx68.xml" ContentType="application/vnd.ms-office.chartex+xml"/>
  <Override PartName="/ppt/charts/style68.xml" ContentType="application/vnd.ms-office.chartstyle+xml"/>
  <Override PartName="/ppt/charts/colors68.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39"/>
  </p:notesMasterIdLst>
  <p:sldIdLst>
    <p:sldId id="2147475198" r:id="rId5"/>
    <p:sldId id="2147475199" r:id="rId6"/>
    <p:sldId id="2147475200" r:id="rId7"/>
    <p:sldId id="2147475201" r:id="rId8"/>
    <p:sldId id="2147475174" r:id="rId9"/>
    <p:sldId id="2147475202" r:id="rId10"/>
    <p:sldId id="2147475170" r:id="rId11"/>
    <p:sldId id="2147475175" r:id="rId12"/>
    <p:sldId id="2147475182" r:id="rId13"/>
    <p:sldId id="2147475177" r:id="rId14"/>
    <p:sldId id="2147475205" r:id="rId15"/>
    <p:sldId id="2147475185" r:id="rId16"/>
    <p:sldId id="2147475193" r:id="rId17"/>
    <p:sldId id="2147475194" r:id="rId18"/>
    <p:sldId id="2147475195" r:id="rId19"/>
    <p:sldId id="2147475196" r:id="rId20"/>
    <p:sldId id="2147475197" r:id="rId21"/>
    <p:sldId id="2147475206" r:id="rId22"/>
    <p:sldId id="2147475207" r:id="rId23"/>
    <p:sldId id="2147475208" r:id="rId24"/>
    <p:sldId id="2147475183" r:id="rId25"/>
    <p:sldId id="2147475184" r:id="rId26"/>
    <p:sldId id="2147475209" r:id="rId27"/>
    <p:sldId id="2147475186" r:id="rId28"/>
    <p:sldId id="2147475214" r:id="rId29"/>
    <p:sldId id="2147475215" r:id="rId30"/>
    <p:sldId id="2147475216" r:id="rId31"/>
    <p:sldId id="2147475217" r:id="rId32"/>
    <p:sldId id="2147475218" r:id="rId33"/>
    <p:sldId id="2147475223" r:id="rId34"/>
    <p:sldId id="2147475224" r:id="rId35"/>
    <p:sldId id="2147475225" r:id="rId36"/>
    <p:sldId id="2147475180" r:id="rId37"/>
    <p:sldId id="2147475181" r:id="rId3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AC577682-E234-4B09-A120-FC1403733E5C}">
          <p14:sldIdLst>
            <p14:sldId id="2147475198"/>
            <p14:sldId id="2147475199"/>
            <p14:sldId id="2147475200"/>
            <p14:sldId id="2147475201"/>
            <p14:sldId id="2147475174"/>
            <p14:sldId id="2147475202"/>
            <p14:sldId id="2147475170"/>
            <p14:sldId id="2147475175"/>
            <p14:sldId id="2147475182"/>
            <p14:sldId id="2147475177"/>
            <p14:sldId id="2147475205"/>
            <p14:sldId id="2147475185"/>
            <p14:sldId id="2147475193"/>
            <p14:sldId id="2147475194"/>
            <p14:sldId id="2147475195"/>
            <p14:sldId id="2147475196"/>
            <p14:sldId id="2147475197"/>
            <p14:sldId id="2147475206"/>
            <p14:sldId id="2147475207"/>
            <p14:sldId id="2147475208"/>
            <p14:sldId id="2147475183"/>
            <p14:sldId id="2147475184"/>
            <p14:sldId id="2147475209"/>
            <p14:sldId id="2147475186"/>
            <p14:sldId id="2147475214"/>
            <p14:sldId id="2147475215"/>
            <p14:sldId id="2147475216"/>
            <p14:sldId id="2147475217"/>
            <p14:sldId id="2147475218"/>
            <p14:sldId id="2147475223"/>
            <p14:sldId id="2147475224"/>
            <p14:sldId id="2147475225"/>
            <p14:sldId id="2147475180"/>
            <p14:sldId id="214747518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28" autoAdjust="0"/>
    <p:restoredTop sz="94660"/>
  </p:normalViewPr>
  <p:slideViewPr>
    <p:cSldViewPr snapToGrid="0">
      <p:cViewPr varScale="1">
        <p:scale>
          <a:sx n="103" d="100"/>
          <a:sy n="103" d="100"/>
        </p:scale>
        <p:origin x="902"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_rels/chartEx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1.xlsx"/></Relationships>
</file>

<file path=ppt/charts/_rels/chartEx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3.xlsx"/></Relationships>
</file>

<file path=ppt/charts/_rels/chartEx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5.xlsx"/></Relationships>
</file>

<file path=ppt/charts/_rels/chartEx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6.xlsx"/></Relationships>
</file>

<file path=ppt/charts/_rels/chartEx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1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package" Target="../embeddings/Microsoft_Excel_Worksheet18.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19.xlsx"/></Relationships>
</file>

<file path=ppt/charts/_rels/chartEx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0.xlsx"/></Relationships>
</file>

<file path=ppt/charts/_rels/chartEx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1.xlsx"/></Relationships>
</file>

<file path=ppt/charts/_rels/chartEx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_rels/chartEx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24.xlsx"/></Relationships>
</file>

<file path=ppt/charts/_rels/chartEx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Microsoft_Excel_Worksheet25.xlsx"/></Relationships>
</file>

<file path=ppt/charts/_rels/chartEx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Microsoft_Excel_Worksheet26.xlsx"/></Relationships>
</file>

<file path=ppt/charts/_rels/chartEx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_rels/chartEx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Microsoft_Excel_Worksheet28.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0.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package" Target="../embeddings/Microsoft_Excel_Worksheet29.xlsx"/></Relationships>
</file>

<file path=ppt/charts/_rels/chartEx3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_rels/chartEx3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package" Target="../embeddings/Microsoft_Excel_Worksheet31.xlsx"/></Relationships>
</file>

<file path=ppt/charts/_rels/chartEx3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package" Target="../embeddings/Microsoft_Excel_Worksheet32.xlsx"/></Relationships>
</file>

<file path=ppt/charts/_rels/chartEx34.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package" Target="../embeddings/Microsoft_Excel_Worksheet33.xlsx"/></Relationships>
</file>

<file path=ppt/charts/_rels/chartEx35.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package" Target="../embeddings/Microsoft_Excel_Worksheet34.xlsx"/></Relationships>
</file>

<file path=ppt/charts/_rels/chartEx36.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package" Target="../embeddings/Microsoft_Excel_Worksheet35.xlsx"/></Relationships>
</file>

<file path=ppt/charts/_rels/chartEx37.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package" Target="../embeddings/Microsoft_Excel_Worksheet36.xlsx"/></Relationships>
</file>

<file path=ppt/charts/_rels/chartEx38.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package" Target="../embeddings/Microsoft_Excel_Worksheet37.xlsx"/></Relationships>
</file>

<file path=ppt/charts/_rels/chartEx3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package" Target="../embeddings/Microsoft_Excel_Worksheet38.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40.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package" Target="../embeddings/Microsoft_Excel_Worksheet39.xlsx"/></Relationships>
</file>

<file path=ppt/charts/_rels/chartEx41.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package" Target="../embeddings/Microsoft_Excel_Worksheet40.xlsx"/></Relationships>
</file>

<file path=ppt/charts/_rels/chartEx42.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package" Target="../embeddings/Microsoft_Excel_Worksheet41.xlsx"/></Relationships>
</file>

<file path=ppt/charts/_rels/chartEx43.xml.rels><?xml version="1.0" encoding="UTF-8" standalone="yes"?>
<Relationships xmlns="http://schemas.openxmlformats.org/package/2006/relationships"><Relationship Id="rId3" Type="http://schemas.microsoft.com/office/2011/relationships/chartColorStyle" Target="colors43.xml"/><Relationship Id="rId2" Type="http://schemas.microsoft.com/office/2011/relationships/chartStyle" Target="style43.xml"/><Relationship Id="rId1" Type="http://schemas.openxmlformats.org/officeDocument/2006/relationships/package" Target="../embeddings/Microsoft_Excel_Worksheet42.xlsx"/></Relationships>
</file>

<file path=ppt/charts/_rels/chartEx44.xml.rels><?xml version="1.0" encoding="UTF-8" standalone="yes"?>
<Relationships xmlns="http://schemas.openxmlformats.org/package/2006/relationships"><Relationship Id="rId3" Type="http://schemas.microsoft.com/office/2011/relationships/chartColorStyle" Target="colors44.xml"/><Relationship Id="rId2" Type="http://schemas.microsoft.com/office/2011/relationships/chartStyle" Target="style44.xml"/><Relationship Id="rId1" Type="http://schemas.openxmlformats.org/officeDocument/2006/relationships/package" Target="../embeddings/Microsoft_Excel_Worksheet43.xlsx"/></Relationships>
</file>

<file path=ppt/charts/_rels/chartEx45.xml.rels><?xml version="1.0" encoding="UTF-8" standalone="yes"?>
<Relationships xmlns="http://schemas.openxmlformats.org/package/2006/relationships"><Relationship Id="rId3" Type="http://schemas.microsoft.com/office/2011/relationships/chartColorStyle" Target="colors45.xml"/><Relationship Id="rId2" Type="http://schemas.microsoft.com/office/2011/relationships/chartStyle" Target="style45.xml"/><Relationship Id="rId1" Type="http://schemas.openxmlformats.org/officeDocument/2006/relationships/package" Target="../embeddings/Microsoft_Excel_Worksheet44.xlsx"/></Relationships>
</file>

<file path=ppt/charts/_rels/chartEx46.xml.rels><?xml version="1.0" encoding="UTF-8" standalone="yes"?>
<Relationships xmlns="http://schemas.openxmlformats.org/package/2006/relationships"><Relationship Id="rId3" Type="http://schemas.microsoft.com/office/2011/relationships/chartColorStyle" Target="colors46.xml"/><Relationship Id="rId2" Type="http://schemas.microsoft.com/office/2011/relationships/chartStyle" Target="style46.xml"/><Relationship Id="rId1" Type="http://schemas.openxmlformats.org/officeDocument/2006/relationships/package" Target="../embeddings/Microsoft_Excel_Worksheet45.xlsx"/></Relationships>
</file>

<file path=ppt/charts/_rels/chartEx47.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package" Target="../embeddings/Microsoft_Excel_Worksheet46.xlsx"/></Relationships>
</file>

<file path=ppt/charts/_rels/chartEx48.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package" Target="../embeddings/Microsoft_Excel_Worksheet47.xlsx"/></Relationships>
</file>

<file path=ppt/charts/_rels/chartEx49.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package" Target="../embeddings/Microsoft_Excel_Worksheet48.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50.xml.rels><?xml version="1.0" encoding="UTF-8" standalone="yes"?>
<Relationships xmlns="http://schemas.openxmlformats.org/package/2006/relationships"><Relationship Id="rId3" Type="http://schemas.microsoft.com/office/2011/relationships/chartColorStyle" Target="colors50.xml"/><Relationship Id="rId2" Type="http://schemas.microsoft.com/office/2011/relationships/chartStyle" Target="style50.xml"/><Relationship Id="rId1" Type="http://schemas.openxmlformats.org/officeDocument/2006/relationships/package" Target="../embeddings/Microsoft_Excel_Worksheet49.xlsx"/></Relationships>
</file>

<file path=ppt/charts/_rels/chartEx51.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package" Target="../embeddings/Microsoft_Excel_Worksheet50.xlsx"/></Relationships>
</file>

<file path=ppt/charts/_rels/chartEx52.xml.rels><?xml version="1.0" encoding="UTF-8" standalone="yes"?>
<Relationships xmlns="http://schemas.openxmlformats.org/package/2006/relationships"><Relationship Id="rId3" Type="http://schemas.microsoft.com/office/2011/relationships/chartColorStyle" Target="colors52.xml"/><Relationship Id="rId2" Type="http://schemas.microsoft.com/office/2011/relationships/chartStyle" Target="style52.xml"/><Relationship Id="rId1" Type="http://schemas.openxmlformats.org/officeDocument/2006/relationships/package" Target="../embeddings/Microsoft_Excel_Worksheet51.xlsx"/></Relationships>
</file>

<file path=ppt/charts/_rels/chartEx53.xml.rels><?xml version="1.0" encoding="UTF-8" standalone="yes"?>
<Relationships xmlns="http://schemas.openxmlformats.org/package/2006/relationships"><Relationship Id="rId3" Type="http://schemas.microsoft.com/office/2011/relationships/chartColorStyle" Target="colors53.xml"/><Relationship Id="rId2" Type="http://schemas.microsoft.com/office/2011/relationships/chartStyle" Target="style53.xml"/><Relationship Id="rId1" Type="http://schemas.openxmlformats.org/officeDocument/2006/relationships/package" Target="../embeddings/Microsoft_Excel_Worksheet52.xlsx"/></Relationships>
</file>

<file path=ppt/charts/_rels/chartEx54.xml.rels><?xml version="1.0" encoding="UTF-8" standalone="yes"?>
<Relationships xmlns="http://schemas.openxmlformats.org/package/2006/relationships"><Relationship Id="rId3" Type="http://schemas.microsoft.com/office/2011/relationships/chartColorStyle" Target="colors54.xml"/><Relationship Id="rId2" Type="http://schemas.microsoft.com/office/2011/relationships/chartStyle" Target="style54.xml"/><Relationship Id="rId1" Type="http://schemas.openxmlformats.org/officeDocument/2006/relationships/package" Target="../embeddings/Microsoft_Excel_Worksheet53.xlsx"/></Relationships>
</file>

<file path=ppt/charts/_rels/chartEx55.xml.rels><?xml version="1.0" encoding="UTF-8" standalone="yes"?>
<Relationships xmlns="http://schemas.openxmlformats.org/package/2006/relationships"><Relationship Id="rId3" Type="http://schemas.microsoft.com/office/2011/relationships/chartColorStyle" Target="colors55.xml"/><Relationship Id="rId2" Type="http://schemas.microsoft.com/office/2011/relationships/chartStyle" Target="style55.xml"/><Relationship Id="rId1" Type="http://schemas.openxmlformats.org/officeDocument/2006/relationships/package" Target="../embeddings/Microsoft_Excel_Worksheet54.xlsx"/></Relationships>
</file>

<file path=ppt/charts/_rels/chartEx56.xml.rels><?xml version="1.0" encoding="UTF-8" standalone="yes"?>
<Relationships xmlns="http://schemas.openxmlformats.org/package/2006/relationships"><Relationship Id="rId3" Type="http://schemas.microsoft.com/office/2011/relationships/chartColorStyle" Target="colors56.xml"/><Relationship Id="rId2" Type="http://schemas.microsoft.com/office/2011/relationships/chartStyle" Target="style56.xml"/><Relationship Id="rId1" Type="http://schemas.openxmlformats.org/officeDocument/2006/relationships/package" Target="../embeddings/Microsoft_Excel_Worksheet55.xlsx"/></Relationships>
</file>

<file path=ppt/charts/_rels/chartEx57.xml.rels><?xml version="1.0" encoding="UTF-8" standalone="yes"?>
<Relationships xmlns="http://schemas.openxmlformats.org/package/2006/relationships"><Relationship Id="rId3" Type="http://schemas.microsoft.com/office/2011/relationships/chartColorStyle" Target="colors57.xml"/><Relationship Id="rId2" Type="http://schemas.microsoft.com/office/2011/relationships/chartStyle" Target="style57.xml"/><Relationship Id="rId1" Type="http://schemas.openxmlformats.org/officeDocument/2006/relationships/package" Target="../embeddings/Microsoft_Excel_Worksheet56.xlsx"/></Relationships>
</file>

<file path=ppt/charts/_rels/chartEx58.xml.rels><?xml version="1.0" encoding="UTF-8" standalone="yes"?>
<Relationships xmlns="http://schemas.openxmlformats.org/package/2006/relationships"><Relationship Id="rId3" Type="http://schemas.microsoft.com/office/2011/relationships/chartColorStyle" Target="colors58.xml"/><Relationship Id="rId2" Type="http://schemas.microsoft.com/office/2011/relationships/chartStyle" Target="style58.xml"/><Relationship Id="rId1" Type="http://schemas.openxmlformats.org/officeDocument/2006/relationships/package" Target="../embeddings/Microsoft_Excel_Worksheet57.xlsx"/></Relationships>
</file>

<file path=ppt/charts/_rels/chartEx59.xml.rels><?xml version="1.0" encoding="UTF-8" standalone="yes"?>
<Relationships xmlns="http://schemas.openxmlformats.org/package/2006/relationships"><Relationship Id="rId3" Type="http://schemas.microsoft.com/office/2011/relationships/chartColorStyle" Target="colors59.xml"/><Relationship Id="rId2" Type="http://schemas.microsoft.com/office/2011/relationships/chartStyle" Target="style59.xml"/><Relationship Id="rId1" Type="http://schemas.openxmlformats.org/officeDocument/2006/relationships/package" Target="../embeddings/Microsoft_Excel_Worksheet58.xlsx"/></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60.xml.rels><?xml version="1.0" encoding="UTF-8" standalone="yes"?>
<Relationships xmlns="http://schemas.openxmlformats.org/package/2006/relationships"><Relationship Id="rId3" Type="http://schemas.microsoft.com/office/2011/relationships/chartColorStyle" Target="colors60.xml"/><Relationship Id="rId2" Type="http://schemas.microsoft.com/office/2011/relationships/chartStyle" Target="style60.xml"/><Relationship Id="rId1" Type="http://schemas.openxmlformats.org/officeDocument/2006/relationships/package" Target="../embeddings/Microsoft_Excel_Worksheet59.xlsx"/></Relationships>
</file>

<file path=ppt/charts/_rels/chartEx61.xml.rels><?xml version="1.0" encoding="UTF-8" standalone="yes"?>
<Relationships xmlns="http://schemas.openxmlformats.org/package/2006/relationships"><Relationship Id="rId3" Type="http://schemas.microsoft.com/office/2011/relationships/chartColorStyle" Target="colors61.xml"/><Relationship Id="rId2" Type="http://schemas.microsoft.com/office/2011/relationships/chartStyle" Target="style61.xml"/><Relationship Id="rId1" Type="http://schemas.openxmlformats.org/officeDocument/2006/relationships/package" Target="../embeddings/Microsoft_Excel_Worksheet60.xlsx"/></Relationships>
</file>

<file path=ppt/charts/_rels/chartEx62.xml.rels><?xml version="1.0" encoding="UTF-8" standalone="yes"?>
<Relationships xmlns="http://schemas.openxmlformats.org/package/2006/relationships"><Relationship Id="rId3" Type="http://schemas.microsoft.com/office/2011/relationships/chartColorStyle" Target="colors62.xml"/><Relationship Id="rId2" Type="http://schemas.microsoft.com/office/2011/relationships/chartStyle" Target="style62.xml"/><Relationship Id="rId1" Type="http://schemas.openxmlformats.org/officeDocument/2006/relationships/package" Target="../embeddings/Microsoft_Excel_Worksheet61.xlsx"/></Relationships>
</file>

<file path=ppt/charts/_rels/chartEx63.xml.rels><?xml version="1.0" encoding="UTF-8" standalone="yes"?>
<Relationships xmlns="http://schemas.openxmlformats.org/package/2006/relationships"><Relationship Id="rId3" Type="http://schemas.microsoft.com/office/2011/relationships/chartColorStyle" Target="colors63.xml"/><Relationship Id="rId2" Type="http://schemas.microsoft.com/office/2011/relationships/chartStyle" Target="style63.xml"/><Relationship Id="rId1" Type="http://schemas.openxmlformats.org/officeDocument/2006/relationships/package" Target="../embeddings/Microsoft_Excel_Worksheet62.xlsx"/></Relationships>
</file>

<file path=ppt/charts/_rels/chartEx64.xml.rels><?xml version="1.0" encoding="UTF-8" standalone="yes"?>
<Relationships xmlns="http://schemas.openxmlformats.org/package/2006/relationships"><Relationship Id="rId3" Type="http://schemas.microsoft.com/office/2011/relationships/chartColorStyle" Target="colors64.xml"/><Relationship Id="rId2" Type="http://schemas.microsoft.com/office/2011/relationships/chartStyle" Target="style64.xml"/><Relationship Id="rId1" Type="http://schemas.openxmlformats.org/officeDocument/2006/relationships/package" Target="../embeddings/Microsoft_Excel_Worksheet63.xlsx"/></Relationships>
</file>

<file path=ppt/charts/_rels/chartEx65.xml.rels><?xml version="1.0" encoding="UTF-8" standalone="yes"?>
<Relationships xmlns="http://schemas.openxmlformats.org/package/2006/relationships"><Relationship Id="rId3" Type="http://schemas.microsoft.com/office/2011/relationships/chartColorStyle" Target="colors65.xml"/><Relationship Id="rId2" Type="http://schemas.microsoft.com/office/2011/relationships/chartStyle" Target="style65.xml"/><Relationship Id="rId1" Type="http://schemas.openxmlformats.org/officeDocument/2006/relationships/package" Target="../embeddings/Microsoft_Excel_Worksheet64.xlsx"/></Relationships>
</file>

<file path=ppt/charts/_rels/chartEx66.xml.rels><?xml version="1.0" encoding="UTF-8" standalone="yes"?>
<Relationships xmlns="http://schemas.openxmlformats.org/package/2006/relationships"><Relationship Id="rId3" Type="http://schemas.microsoft.com/office/2011/relationships/chartColorStyle" Target="colors66.xml"/><Relationship Id="rId2" Type="http://schemas.microsoft.com/office/2011/relationships/chartStyle" Target="style66.xml"/><Relationship Id="rId1" Type="http://schemas.openxmlformats.org/officeDocument/2006/relationships/package" Target="../embeddings/Microsoft_Excel_Worksheet65.xlsx"/></Relationships>
</file>

<file path=ppt/charts/_rels/chartEx67.xml.rels><?xml version="1.0" encoding="UTF-8" standalone="yes"?>
<Relationships xmlns="http://schemas.openxmlformats.org/package/2006/relationships"><Relationship Id="rId3" Type="http://schemas.microsoft.com/office/2011/relationships/chartColorStyle" Target="colors67.xml"/><Relationship Id="rId2" Type="http://schemas.microsoft.com/office/2011/relationships/chartStyle" Target="style67.xml"/><Relationship Id="rId1" Type="http://schemas.openxmlformats.org/officeDocument/2006/relationships/package" Target="../embeddings/Microsoft_Excel_Worksheet66.xlsx"/></Relationships>
</file>

<file path=ppt/charts/_rels/chartEx68.xml.rels><?xml version="1.0" encoding="UTF-8" standalone="yes"?>
<Relationships xmlns="http://schemas.openxmlformats.org/package/2006/relationships"><Relationship Id="rId3" Type="http://schemas.microsoft.com/office/2011/relationships/chartColorStyle" Target="colors68.xml"/><Relationship Id="rId2" Type="http://schemas.microsoft.com/office/2011/relationships/chartStyle" Target="style68.xml"/><Relationship Id="rId1" Type="http://schemas.openxmlformats.org/officeDocument/2006/relationships/package" Target="../embeddings/Microsoft_Excel_Worksheet67.xlsx"/></Relationships>
</file>

<file path=ppt/charts/_rels/chartEx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_rels/chartEx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Microsoft_Excel_Worksheet8.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227.741999999998</cx:pt>
          <cx:pt idx="1">-712.5520219999994</cx:pt>
          <cx:pt idx="2">2935.8604933999991</cx:pt>
          <cx:pt idx="3">-0.00047139999968931077</cx:pt>
          <cx:pt idx="4">17.489000000000001</cx:pt>
          <cx:pt idx="5">-4.593</cx:pt>
          <cx:pt idx="6">25463.946</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2.46000000000004</cx:pt>
          <cx:pt idx="1">10.882499999999967</cx:pt>
          <cx:pt idx="2">-61.970898400000003</cx:pt>
          <cx:pt idx="3">0.00039840000003459866</cx:pt>
          <cx:pt idx="4">0</cx:pt>
          <cx:pt idx="5">0</cx:pt>
          <cx:pt idx="6">611.37199999999996</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latin typeface="Nexa Bold" panose="00000800000000000000"/>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23.5050000000001</cx:pt>
          <cx:pt idx="1">-38.141346400000053</cx:pt>
          <cx:pt idx="2">-294.30424070000009</cx:pt>
          <cx:pt idx="3">0.00058710000012069936</cx:pt>
          <cx:pt idx="4">1.5600000000000001</cx:pt>
          <cx:pt idx="5">-2.073</cx:pt>
          <cx:pt idx="6">1590.5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1.90300000000002</cx:pt>
          <cx:pt idx="1">6.8662547000000025</cx:pt>
          <cx:pt idx="2">-35.122438599999995</cx:pt>
          <cx:pt idx="3">0.00018389999999271822</cx:pt>
          <cx:pt idx="4">0</cx:pt>
          <cx:pt idx="5">-0.47899999999999998</cx:pt>
          <cx:pt idx="6">343.168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13.377</cx:pt>
          <cx:pt idx="1">-33.289315900000041</cx:pt>
          <cx:pt idx="2">-80.645534600000005</cx:pt>
          <cx:pt idx="3">-0.0001494999999704305</cx:pt>
          <cx:pt idx="4">0.11</cx:pt>
          <cx:pt idx="5">-0.70499999999999996</cx:pt>
          <cx:pt idx="6">1098.8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2.70299999999997</cx:pt>
          <cx:pt idx="1">3.5241608000000126</cx:pt>
          <cx:pt idx="2">-30.215274200000007</cx:pt>
          <cx:pt idx="3">0.00011339999999472639</cx:pt>
          <cx:pt idx="4">0.072999999999999995</cx:pt>
          <cx:pt idx="5">0</cx:pt>
          <cx:pt idx="6">246.085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33.808000000001</cx:pt>
          <cx:pt idx="1">-373.77822309999954</cx:pt>
          <cx:pt idx="2">-499.07801000000006</cx:pt>
          <cx:pt idx="3">0.0002330999996047467</cx:pt>
          <cx:pt idx="4">3.7999999999999998</cx:pt>
          <cx:pt idx="5">-3.625</cx:pt>
          <cx:pt idx="6">10761.12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0.0790000000002</cx:pt>
          <cx:pt idx="1">53.204381100000241</cx:pt>
          <cx:pt idx="2">-264.24826690000003</cx:pt>
          <cx:pt idx="3">0.0018857999998144806</cx:pt>
          <cx:pt idx="4">0</cx:pt>
          <cx:pt idx="5">-0.051999999999999998</cx:pt>
          <cx:pt idx="6">3788.985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18.8489999999999</cx:pt>
          <cx:pt idx="1">-56.263849799999868</cx:pt>
          <cx:pt idx="2">43.321512699999992</cx:pt>
          <cx:pt idx="3">0.00033709999987331684</cx:pt>
          <cx:pt idx="4">0.42999999999999999</cx:pt>
          <cx:pt idx="5">-0.67000000000000004</cx:pt>
          <cx:pt idx="6">1905.66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5</cx:pt>
          <cx:pt idx="1">12</cx:pt>
          <cx:pt idx="2">-65</cx:pt>
          <cx:pt idx="3">1.1920928955078126e-12</cx:pt>
          <cx:pt idx="4">0</cx:pt>
          <cx:pt idx="5">0</cx:pt>
          <cx:pt idx="6">631</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62.35799999999995</cx:pt>
          <cx:pt idx="1">-36.446578800000005</cx:pt>
          <cx:pt idx="2">52.467925500000007</cx:pt>
          <cx:pt idx="3">-0.00034670000000187428</cx:pt>
          <cx:pt idx="4">0.54000000000000004</cx:pt>
          <cx:pt idx="5">-0.48499999999999999</cx:pt>
          <cx:pt idx="6">878.4339999999999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99.2039999999997</cx:pt>
          <cx:pt idx="1">74.312135799999794</cx:pt>
          <cx:pt idx="2">20.200373799999955</cx:pt>
          <cx:pt idx="3">-0.0035095999997574838</cx:pt>
          <cx:pt idx="4">0.086999999999999994</cx:pt>
          <cx:pt idx="5">-0.14899999999999999</cx:pt>
          <cx:pt idx="6">5693.6509999999998</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0</cx:pt>
          <cx:pt idx="1">5</cx:pt>
          <cx:pt idx="2">-16</cx:pt>
          <cx:pt idx="3">1.1920928955078126e-12</cx:pt>
          <cx:pt idx="4">0</cx:pt>
          <cx:pt idx="5">0</cx:pt>
          <cx:pt idx="6">279</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13999999999999</cx:pt>
          <cx:pt idx="1">-16.083120899999994</cx:pt>
          <cx:pt idx="2">53.598001499999988</cx:pt>
          <cx:pt idx="3">0.0001194000000032247</cx:pt>
          <cx:pt idx="4">0.96199999999999997</cx:pt>
          <cx:pt idx="5">-0.53000000000000003</cx:pt>
          <cx:pt idx="6">395.086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9.077</cx:pt>
          <cx:pt idx="1">1.792620199999998</cx:pt>
          <cx:pt idx="2">-13.421513900000001</cx:pt>
          <cx:pt idx="3">-0.0001062999999976455</cx:pt>
          <cx:pt idx="4">0.39400000000000002</cx:pt>
          <cx:pt idx="5">-1.2110000000000001</cx:pt>
          <cx:pt idx="6">216.63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6.07299999999998</cx:pt>
          <cx:pt idx="1">-12.337017299999987</cx:pt>
          <cx:pt idx="2">29.850004699999985</cx:pt>
          <cx:pt idx="3">1.2600000001839362e-05</cx:pt>
          <cx:pt idx="4">0.53500000000000003</cx:pt>
          <cx:pt idx="5">-3.9220000000000002</cx:pt>
          <cx:pt idx="6">300.199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cx:pt>
          <cx:pt idx="1">4</cx:pt>
          <cx:pt idx="2">-8</cx:pt>
          <cx:pt idx="3">1.1920928955078126e-12</cx:pt>
          <cx:pt idx="4">0</cx:pt>
          <cx:pt idx="5">0</cx:pt>
          <cx:pt idx="6">152</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993</cx:pt>
          <cx:pt idx="1">-147</cx:pt>
          <cx:pt idx="2">61</cx:pt>
          <cx:pt idx="3">1.1920928955078126e-12</cx:pt>
          <cx:pt idx="4">2</cx:pt>
          <cx:pt idx="5">-2</cx:pt>
          <cx:pt idx="6">4907</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9</cx:pt>
          <cx:pt idx="1">20</cx:pt>
          <cx:pt idx="2">-86</cx:pt>
          <cx:pt idx="3">1.1920928955078126e-12</cx:pt>
          <cx:pt idx="4">0</cx:pt>
          <cx:pt idx="5">0</cx:pt>
          <cx:pt idx="6">1463</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26</cx:pt>
          <cx:pt idx="1">-77</cx:pt>
          <cx:pt idx="2">-6</cx:pt>
          <cx:pt idx="3">1.1920928955078126e-12</cx:pt>
          <cx:pt idx="4">6</cx:pt>
          <cx:pt idx="5">-1</cx:pt>
          <cx:pt idx="6">2148</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6</cx:pt>
          <cx:pt idx="1">12</cx:pt>
          <cx:pt idx="2">-38</cx:pt>
          <cx:pt idx="3">1.1920928955078126e-12</cx:pt>
          <cx:pt idx="4">0</cx:pt>
          <cx:pt idx="5">0</cx:pt>
          <cx:pt idx="6">849</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8</cx:pt>
          <cx:pt idx="1">-129</cx:pt>
          <cx:pt idx="2">-63</cx:pt>
          <cx:pt idx="3">1.1920928955078126e-12</cx:pt>
          <cx:pt idx="4">1</cx:pt>
          <cx:pt idx="5">-3</cx:pt>
          <cx:pt idx="6">3453</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75.293000000001</cx:pt>
          <cx:pt idx="1">-555.03244109999957</cx:pt>
          <cx:pt idx="2">-423.03631389999975</cx:pt>
          <cx:pt idx="3">0.00375499999942258</cx:pt>
          <cx:pt idx="4">1.5600000000000001</cx:pt>
          <cx:pt idx="5">-4.7539999999999996</cx:pt>
          <cx:pt idx="6">15694.034</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1</cx:pt>
          <cx:pt idx="1">20</cx:pt>
          <cx:pt idx="2">-102</cx:pt>
          <cx:pt idx="3">1.1920928955078126e-12</cx:pt>
          <cx:pt idx="4">0</cx:pt>
          <cx:pt idx="5">0</cx:pt>
          <cx:pt idx="6">1318</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84</cx:pt>
          <cx:pt idx="1">-102</cx:pt>
          <cx:pt idx="2">-350</cx:pt>
          <cx:pt idx="3">1.1920928955078126e-12</cx:pt>
          <cx:pt idx="4">2</cx:pt>
          <cx:pt idx="5">-1</cx:pt>
          <cx:pt idx="6">2734</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9</cx:pt>
          <cx:pt idx="1">14</cx:pt>
          <cx:pt idx="2">-80</cx:pt>
          <cx:pt idx="3">1.1920928955078126e-12</cx:pt>
          <cx:pt idx="4">0</cx:pt>
          <cx:pt idx="5">0</cx:pt>
          <cx:pt idx="6">1023</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23</cx:pt>
          <cx:pt idx="1">-100</cx:pt>
          <cx:pt idx="2">-70</cx:pt>
          <cx:pt idx="3">1.1920928955078126e-12</cx:pt>
          <cx:pt idx="4">0</cx:pt>
          <cx:pt idx="5">-1</cx:pt>
          <cx:pt idx="6">2452</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12</cx:pt>
          <cx:pt idx="1">14</cx:pt>
          <cx:pt idx="2">-73</cx:pt>
          <cx:pt idx="3">1.1920928955078126e-12</cx:pt>
          <cx:pt idx="4">0</cx:pt>
          <cx:pt idx="5">0</cx:pt>
          <cx:pt idx="6">1052</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227.741999999998</cx:pt>
          <cx:pt idx="1">-712.5520219999994</cx:pt>
          <cx:pt idx="2">2935.8604933999991</cx:pt>
          <cx:pt idx="3">-0.00047139999968931077</cx:pt>
          <cx:pt idx="4">17.489000000000001</cx:pt>
          <cx:pt idx="5">-4.593</cx:pt>
          <cx:pt idx="6">25463.946</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99.2039999999997</cx:pt>
          <cx:pt idx="1">74.312135799999794</cx:pt>
          <cx:pt idx="2">20.200373799999955</cx:pt>
          <cx:pt idx="3">-0.0035095999997574838</cx:pt>
          <cx:pt idx="4">0.086999999999999994</cx:pt>
          <cx:pt idx="5">-0.14899999999999999</cx:pt>
          <cx:pt idx="6">5693.6509999999998</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75.293000000001</cx:pt>
          <cx:pt idx="1">-555.03244109999957</cx:pt>
          <cx:pt idx="2">-423.03631389999975</cx:pt>
          <cx:pt idx="3">0.00375499999942258</cx:pt>
          <cx:pt idx="4">1.5600000000000001</cx:pt>
          <cx:pt idx="5">-4.7539999999999996</cx:pt>
          <cx:pt idx="6">15694.034</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06.5029999999997</cx:pt>
          <cx:pt idx="1">81.036578100000114</cx:pt>
          <cx:pt idx="2">-381.84603569999996</cx:pt>
          <cx:pt idx="3">0.0074575999998487529</cx:pt>
          <cx:pt idx="4">0.086999999999999994</cx:pt>
          <cx:pt idx="5">-0.20100000000000001</cx:pt>
          <cx:pt idx="6">5705.5870000000004</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42.7759999999998</cx:pt>
          <cx:pt idx="1">-242.36846959999997</cx:pt>
          <cx:pt idx="2">79.574090799999993</cx:pt>
          <cx:pt idx="3">0.0023788000000058672</cx:pt>
          <cx:pt idx="4">2.2200000000000002</cx:pt>
          <cx:pt idx="5">-3.0710000000000002</cx:pt>
          <cx:pt idx="6">5979.132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06.5029999999997</cx:pt>
          <cx:pt idx="1">81.036578100000114</cx:pt>
          <cx:pt idx="2">-381.84603569999996</cx:pt>
          <cx:pt idx="3">0.0074575999998487529</cx:pt>
          <cx:pt idx="4">0.086999999999999994</cx:pt>
          <cx:pt idx="5">-0.20100000000000001</cx:pt>
          <cx:pt idx="6">5705.5870000000004</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1.4659999999999</cx:pt>
          <cx:pt idx="1">32.500089900000049</cx:pt>
          <cx:pt idx="2">-168.67111990000001</cx:pt>
          <cx:pt idx="3">0.001029999999969732</cx:pt>
          <cx:pt idx="4">0</cx:pt>
          <cx:pt idx="5">-0.051999999999999998</cx:pt>
          <cx:pt idx="6">2515.24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8.0770000000002</cx:pt>
          <cx:pt idx="1">-117.44701360000001</cx:pt>
          <cx:pt idx="2">-278.33017650000011</cx:pt>
          <cx:pt idx="3">0.00019010000012349338</cx:pt>
          <cx:pt idx="4">0.72399999999999998</cx:pt>
          <cx:pt idx="5">-1.6100000000000001</cx:pt>
          <cx:pt idx="6">3181.414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96.2539999999999</cx:pt>
          <cx:pt idx="1">19.548250900000049</cx:pt>
          <cx:pt idx="2">-65.531010800000004</cx:pt>
          <cx:pt idx="3">-0.00024010000004636822</cx:pt>
          <cx:pt idx="4">0</cx:pt>
          <cx:pt idx="5">-0.23699999999999999</cx:pt>
          <cx:pt idx="6">1250.03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36.5</cx:pt>
          <cx:pt idx="1">-57.284101599999985</cx:pt>
          <cx:pt idx="2">49.702589000000053</cx:pt>
          <cx:pt idx="3">0.0005125999999363557</cx:pt>
          <cx:pt idx="4">0.14599999999999999</cx:pt>
          <cx:pt idx="5">-0.92800000000000005</cx:pt>
          <cx:pt idx="6">1828.13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2.46000000000004</cx:pt>
          <cx:pt idx="1">10.882499999999967</cx:pt>
          <cx:pt idx="2">-61.970898400000003</cx:pt>
          <cx:pt idx="3">0.00039840000003459866</cx:pt>
          <cx:pt idx="4">0</cx:pt>
          <cx:pt idx="5">0</cx:pt>
          <cx:pt idx="6">611.37199999999996</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23.5050000000001</cx:pt>
          <cx:pt idx="1">-38.141346400000053</cx:pt>
          <cx:pt idx="2">-294.30424070000009</cx:pt>
          <cx:pt idx="3">0.00058710000012069936</cx:pt>
          <cx:pt idx="4">1.5600000000000001</cx:pt>
          <cx:pt idx="5">-2.073</cx:pt>
          <cx:pt idx="6">1590.5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1.90300000000002</cx:pt>
          <cx:pt idx="1">6.8662547000000025</cx:pt>
          <cx:pt idx="2">-35.122438599999995</cx:pt>
          <cx:pt idx="3">0.00018389999999271822</cx:pt>
          <cx:pt idx="4">0</cx:pt>
          <cx:pt idx="5">-0.47899999999999998</cx:pt>
          <cx:pt idx="6">343.168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13.377</cx:pt>
          <cx:pt idx="1">-33.289315900000041</cx:pt>
          <cx:pt idx="2">-80.645534600000005</cx:pt>
          <cx:pt idx="3">-0.0001494999999704305</cx:pt>
          <cx:pt idx="4">0.11</cx:pt>
          <cx:pt idx="5">-0.70499999999999996</cx:pt>
          <cx:pt idx="6">1098.8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3</cx:pt>
          <cx:pt idx="1">4</cx:pt>
          <cx:pt idx="2">-30</cx:pt>
          <cx:pt idx="3">1.1920928955078126e-12</cx:pt>
          <cx:pt idx="4">0</cx:pt>
          <cx:pt idx="5">0</cx:pt>
          <cx:pt idx="6">246</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33.808000000001</cx:pt>
          <cx:pt idx="1">-373.77822309999954</cx:pt>
          <cx:pt idx="2">-499.07801000000006</cx:pt>
          <cx:pt idx="3">0.0002330999996047467</cx:pt>
          <cx:pt idx="4">3.7999999999999998</cx:pt>
          <cx:pt idx="5">-3.625</cx:pt>
          <cx:pt idx="6">10761.12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42.7759999999998</cx:pt>
          <cx:pt idx="1">-242.36846959999997</cx:pt>
          <cx:pt idx="2">79.574090799999993</cx:pt>
          <cx:pt idx="3">0.0023788000000058672</cx:pt>
          <cx:pt idx="4">2.2200000000000002</cx:pt>
          <cx:pt idx="5">-3.0710000000000002</cx:pt>
          <cx:pt idx="6">5979.132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0.0790000000002</cx:pt>
          <cx:pt idx="1">53.204381100000241</cx:pt>
          <cx:pt idx="2">-264.24826690000003</cx:pt>
          <cx:pt idx="3">0.0018857999998144806</cx:pt>
          <cx:pt idx="4">0</cx:pt>
          <cx:pt idx="5">-0.051999999999999998</cx:pt>
          <cx:pt idx="6">3788.985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18.8489999999999</cx:pt>
          <cx:pt idx="1">-56.263849799999868</cx:pt>
          <cx:pt idx="2">43.321512699999992</cx:pt>
          <cx:pt idx="3">0.00033709999987331684</cx:pt>
          <cx:pt idx="4">0.42999999999999999</cx:pt>
          <cx:pt idx="5">-0.67000000000000004</cx:pt>
          <cx:pt idx="6">1905.66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4.66099999999994</cx:pt>
          <cx:pt idx="1">11.562674999999997</cx:pt>
          <cx:pt idx="2">-65.410697499999998</cx:pt>
          <cx:pt idx="3">2.2500000006402842e-05</cx:pt>
          <cx:pt idx="4">0.045999999999999999</cx:pt>
          <cx:pt idx="5">0</cx:pt>
          <cx:pt idx="6">630.85900000000004</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62.35799999999995</cx:pt>
          <cx:pt idx="1">-36.446578800000005</cx:pt>
          <cx:pt idx="2">52.467925500000007</cx:pt>
          <cx:pt idx="3">-0.00034670000000187428</cx:pt>
          <cx:pt idx="4">0.54000000000000004</cx:pt>
          <cx:pt idx="5">-0.48499999999999999</cx:pt>
          <cx:pt idx="6">878.4339999999999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0.20499999999998</cx:pt>
          <cx:pt idx="1">5.1665139000000142</cx:pt>
          <cx:pt idx="2">-16.006696399999996</cx:pt>
          <cx:pt idx="3">0.062182499999982613</cx:pt>
          <cx:pt idx="4">-0.062</cx:pt>
          <cx:pt idx="5">-0.062</cx:pt>
          <cx:pt idx="6">279.303</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13999999999999</cx:pt>
          <cx:pt idx="1">-16.083120899999994</cx:pt>
          <cx:pt idx="2">53.598001499999988</cx:pt>
          <cx:pt idx="3">0.0001194000000032247</cx:pt>
          <cx:pt idx="4">0.96199999999999997</cx:pt>
          <cx:pt idx="5">-0.53000000000000003</cx:pt>
          <cx:pt idx="6">395.086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9.077</cx:pt>
          <cx:pt idx="1">1.792620199999998</cx:pt>
          <cx:pt idx="2">-13.421513900000001</cx:pt>
          <cx:pt idx="3">-0.0001062999999976455</cx:pt>
          <cx:pt idx="4">0.39400000000000002</cx:pt>
          <cx:pt idx="5">-1.2110000000000001</cx:pt>
          <cx:pt idx="6">216.63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6.07299999999998</cx:pt>
          <cx:pt idx="1">-12.337017299999987</cx:pt>
          <cx:pt idx="2">29.850004699999985</cx:pt>
          <cx:pt idx="3">1.2600000001839362e-05</cx:pt>
          <cx:pt idx="4">0.53500000000000003</cx:pt>
          <cx:pt idx="5">-3.9220000000000002</cx:pt>
          <cx:pt idx="6">300.199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0"/>
      </cx:strDim>
      <cx:numDim type="val">
        <cx:f>Sheet1!$B$2:$B$8</cx:f>
        <cx:lvl ptCount="0" formatCode="Genera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993.2299999999996</cx:pt>
          <cx:pt idx="1">-146.59217299999975</cx:pt>
          <cx:pt idx="2">60.806908999999905</cx:pt>
          <cx:pt idx="3">-0.00073600000014994288</cx:pt>
          <cx:pt idx="4">2.1629999999999998</cx:pt>
          <cx:pt idx="5">-2.157</cx:pt>
          <cx:pt idx="6">4907.449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1.4659999999999</cx:pt>
          <cx:pt idx="1">32.500089900000049</cx:pt>
          <cx:pt idx="2">-168.67111990000001</cx:pt>
          <cx:pt idx="3">0.001029999999969732</cx:pt>
          <cx:pt idx="4">0</cx:pt>
          <cx:pt idx="5">-0.051999999999999998</cx:pt>
          <cx:pt idx="6">2515.24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9.1769999999999</cx:pt>
          <cx:pt idx="1">20.238014499999899</cx:pt>
          <cx:pt idx="2">-86.212222999999994</cx:pt>
          <cx:pt idx="3">-0.0017914999999047723</cx:pt>
          <cx:pt idx="4">0</cx:pt>
          <cx:pt idx="5">0</cx:pt>
          <cx:pt idx="6">1463.2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26.471</cx:pt>
          <cx:pt idx="1">-76.857938400000023</cx:pt>
          <cx:pt idx="2">-6.0851618000000389</cx:pt>
          <cx:pt idx="3">0.00010020000007352792</cx:pt>
          <cx:pt idx="4">5.5170000000000003</cx:pt>
          <cx:pt idx="5">-1.2050000000000001</cx:pt>
          <cx:pt idx="6">2147.84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5.745</cx:pt>
          <cx:pt idx="1">11.589134900000079</cx:pt>
          <cx:pt idx="2">-37.855891</cx:pt>
          <cx:pt idx="3">0.028756099999925937</cx:pt>
          <cx:pt idx="4">0.012</cx:pt>
          <cx:pt idx="5">-0.029000000000000001</cx:pt>
          <cx:pt idx="6">849.490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7.8310000000001</cx:pt>
          <cx:pt idx="1">-129.21284589999991</cx:pt>
          <cx:pt idx="2">-62.941728100000027</cx:pt>
          <cx:pt idx="3">-0.00042600000006495976</cx:pt>
          <cx:pt idx="4">0.56000000000000005</cx:pt>
          <cx:pt idx="5">-3.0859999999999999</cx:pt>
          <cx:pt idx="6">3453.15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0.557</cx:pt>
          <cx:pt idx="1">19.567451000000016</cx:pt>
          <cx:pt idx="2">-102.47257800000001</cx:pt>
          <cx:pt idx="3">0.0021269999999931313</cx:pt>
          <cx:pt idx="4">0.045999999999999999</cx:pt>
          <cx:pt idx="5">-0.17899999999999999</cx:pt>
          <cx:pt idx="6">1317.52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84.2269999999999</cx:pt>
          <cx:pt idx="1">-101.53621969999995</cx:pt>
          <cx:pt idx="2">-349.56270879999994</cx:pt>
          <cx:pt idx="3">0.00092849999992176892</cx:pt>
          <cx:pt idx="4">1.659</cx:pt>
          <cx:pt idx="5">-1.2390000000000001</cx:pt>
          <cx:pt idx="6">2733.54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8.6320000000001</cx:pt>
          <cx:pt idx="1">14.358562099999961</cx:pt>
          <cx:pt idx="2">-79.592132599999999</cx:pt>
          <cx:pt idx="3">-0.0014294999999619905</cx:pt>
          <cx:pt idx="4">0</cx:pt>
          <cx:pt idx="5">-0.044999999999999998</cx:pt>
          <cx:pt idx="6">1023.352</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22.8789999999999</cx:pt>
          <cx:pt idx="1">-100.13523169999998</cx:pt>
          <cx:pt idx="2">-69.836975800000019</cx:pt>
          <cx:pt idx="3">0.00020749999998952262</cx:pt>
          <cx:pt idx="4">0</cx:pt>
          <cx:pt idx="5">-0.623</cx:pt>
          <cx:pt idx="6">2452.284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11.942</cx:pt>
          <cx:pt idx="1">13.733818099999963</cx:pt>
          <cx:pt idx="2">-73.03122519999998</cx:pt>
          <cx:pt idx="3">0.0004071000000258209</cx:pt>
          <cx:pt idx="4">0</cx:pt>
          <cx:pt idx="5">-0.42999999999999999</cx:pt>
          <cx:pt idx="6">1052.214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8.0770000000002</cx:pt>
          <cx:pt idx="1">-117.44701360000001</cx:pt>
          <cx:pt idx="2">-278.33017650000011</cx:pt>
          <cx:pt idx="3">0.00019010000012349338</cx:pt>
          <cx:pt idx="4">0.72399999999999998</cx:pt>
          <cx:pt idx="5">-1.6100000000000001</cx:pt>
          <cx:pt idx="6">3181.414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96.2539999999999</cx:pt>
          <cx:pt idx="1">19.548250900000049</cx:pt>
          <cx:pt idx="2">-65.531010800000004</cx:pt>
          <cx:pt idx="3">-0.00024010000004636822</cx:pt>
          <cx:pt idx="4">0</cx:pt>
          <cx:pt idx="5">-0.23699999999999999</cx:pt>
          <cx:pt idx="6">1250.03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36.5</cx:pt>
          <cx:pt idx="1">-57.284101599999985</cx:pt>
          <cx:pt idx="2">49.702589000000053</cx:pt>
          <cx:pt idx="3">0.0005125999999363557</cx:pt>
          <cx:pt idx="4">0.14599999999999999</cx:pt>
          <cx:pt idx="5">-0.92800000000000005</cx:pt>
          <cx:pt idx="6">1828.13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03/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3/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3/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3/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3/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3/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microsoft.com/office/2014/relationships/chartEx" Target="../charts/chartEx19.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6.png"/><Relationship Id="rId5" Type="http://schemas.microsoft.com/office/2014/relationships/chartEx" Target="../charts/chartEx20.xml"/><Relationship Id="rId4" Type="http://schemas.openxmlformats.org/officeDocument/2006/relationships/image" Target="../media/image410.png"/></Relationships>
</file>

<file path=ppt/slides/_rels/slide11.xml.rels><?xml version="1.0" encoding="UTF-8" standalone="yes"?>
<Relationships xmlns="http://schemas.openxmlformats.org/package/2006/relationships"><Relationship Id="rId3" Type="http://schemas.microsoft.com/office/2014/relationships/chartEx" Target="../charts/chartEx21.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431.png"/><Relationship Id="rId5" Type="http://schemas.microsoft.com/office/2014/relationships/chartEx" Target="../charts/chartEx22.xml"/><Relationship Id="rId4" Type="http://schemas.openxmlformats.org/officeDocument/2006/relationships/image" Target="../media/image421.png"/></Relationships>
</file>

<file path=ppt/slides/_rels/slide12.xml.rels><?xml version="1.0" encoding="UTF-8" standalone="yes"?>
<Relationships xmlns="http://schemas.openxmlformats.org/package/2006/relationships"><Relationship Id="rId3" Type="http://schemas.microsoft.com/office/2014/relationships/chartEx" Target="../charts/chartEx2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47.png"/><Relationship Id="rId5" Type="http://schemas.microsoft.com/office/2014/relationships/chartEx" Target="../charts/chartEx24.xml"/><Relationship Id="rId4" Type="http://schemas.openxmlformats.org/officeDocument/2006/relationships/image" Target="../media/image52.png"/></Relationships>
</file>

<file path=ppt/slides/_rels/slide13.xml.rels><?xml version="1.0" encoding="UTF-8" standalone="yes"?>
<Relationships xmlns="http://schemas.openxmlformats.org/package/2006/relationships"><Relationship Id="rId3" Type="http://schemas.microsoft.com/office/2014/relationships/chartEx" Target="../charts/chartEx2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64.png"/><Relationship Id="rId5" Type="http://schemas.microsoft.com/office/2014/relationships/chartEx" Target="../charts/chartEx26.xml"/><Relationship Id="rId4" Type="http://schemas.openxmlformats.org/officeDocument/2006/relationships/image" Target="../media/image63.png"/></Relationships>
</file>

<file path=ppt/slides/_rels/slide14.xml.rels><?xml version="1.0" encoding="UTF-8" standalone="yes"?>
<Relationships xmlns="http://schemas.openxmlformats.org/package/2006/relationships"><Relationship Id="rId3" Type="http://schemas.microsoft.com/office/2014/relationships/chartEx" Target="../charts/chartEx27.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66.png"/><Relationship Id="rId5" Type="http://schemas.microsoft.com/office/2014/relationships/chartEx" Target="../charts/chartEx28.xml"/><Relationship Id="rId4" Type="http://schemas.openxmlformats.org/officeDocument/2006/relationships/image" Target="../media/image65.png"/></Relationships>
</file>

<file path=ppt/slides/_rels/slide15.xml.rels><?xml version="1.0" encoding="UTF-8" standalone="yes"?>
<Relationships xmlns="http://schemas.openxmlformats.org/package/2006/relationships"><Relationship Id="rId3" Type="http://schemas.microsoft.com/office/2014/relationships/chartEx" Target="../charts/chartEx29.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68.png"/><Relationship Id="rId5" Type="http://schemas.microsoft.com/office/2014/relationships/chartEx" Target="../charts/chartEx30.xml"/><Relationship Id="rId4" Type="http://schemas.openxmlformats.org/officeDocument/2006/relationships/image" Target="../media/image67.png"/></Relationships>
</file>

<file path=ppt/slides/_rels/slide16.xml.rels><?xml version="1.0" encoding="UTF-8" standalone="yes"?>
<Relationships xmlns="http://schemas.openxmlformats.org/package/2006/relationships"><Relationship Id="rId3" Type="http://schemas.microsoft.com/office/2014/relationships/chartEx" Target="../charts/chartEx3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70.png"/><Relationship Id="rId5" Type="http://schemas.microsoft.com/office/2014/relationships/chartEx" Target="../charts/chartEx32.xml"/><Relationship Id="rId4" Type="http://schemas.openxmlformats.org/officeDocument/2006/relationships/image" Target="../media/image69.png"/></Relationships>
</file>

<file path=ppt/slides/_rels/slide17.xml.rels><?xml version="1.0" encoding="UTF-8" standalone="yes"?>
<Relationships xmlns="http://schemas.openxmlformats.org/package/2006/relationships"><Relationship Id="rId3" Type="http://schemas.microsoft.com/office/2014/relationships/chartEx" Target="../charts/chartEx33.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72.png"/><Relationship Id="rId5" Type="http://schemas.microsoft.com/office/2014/relationships/chartEx" Target="../charts/chartEx34.xml"/><Relationship Id="rId4" Type="http://schemas.openxmlformats.org/officeDocument/2006/relationships/image" Target="../media/image71.png"/></Relationships>
</file>

<file path=ppt/slides/_rels/slide18.xml.rels><?xml version="1.0" encoding="UTF-8" standalone="yes"?>
<Relationships xmlns="http://schemas.openxmlformats.org/package/2006/relationships"><Relationship Id="rId3" Type="http://schemas.microsoft.com/office/2014/relationships/chartEx" Target="../charts/chartEx35.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293.png"/><Relationship Id="rId5" Type="http://schemas.microsoft.com/office/2014/relationships/chartEx" Target="../charts/chartEx36.xml"/><Relationship Id="rId4" Type="http://schemas.openxmlformats.org/officeDocument/2006/relationships/image" Target="../media/image283.png"/></Relationships>
</file>

<file path=ppt/slides/_rels/slide19.xml.rels><?xml version="1.0" encoding="UTF-8" standalone="yes"?>
<Relationships xmlns="http://schemas.openxmlformats.org/package/2006/relationships"><Relationship Id="rId3" Type="http://schemas.microsoft.com/office/2014/relationships/chartEx" Target="../charts/chartEx37.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292.png"/><Relationship Id="rId5" Type="http://schemas.microsoft.com/office/2014/relationships/chartEx" Target="../charts/chartEx38.xml"/><Relationship Id="rId4" Type="http://schemas.openxmlformats.org/officeDocument/2006/relationships/image" Target="../media/image282.png"/></Relationships>
</file>

<file path=ppt/slides/_rels/slide2.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1.png"/><Relationship Id="rId5" Type="http://schemas.microsoft.com/office/2014/relationships/chartEx" Target="../charts/chartEx4.xml"/><Relationship Id="rId4" Type="http://schemas.openxmlformats.org/officeDocument/2006/relationships/image" Target="../media/image30.png"/></Relationships>
</file>

<file path=ppt/slides/_rels/slide20.xml.rels><?xml version="1.0" encoding="UTF-8" standalone="yes"?>
<Relationships xmlns="http://schemas.openxmlformats.org/package/2006/relationships"><Relationship Id="rId3" Type="http://schemas.microsoft.com/office/2014/relationships/chartEx" Target="../charts/chartEx39.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291.png"/><Relationship Id="rId5" Type="http://schemas.microsoft.com/office/2014/relationships/chartEx" Target="../charts/chartEx40.xml"/><Relationship Id="rId4" Type="http://schemas.openxmlformats.org/officeDocument/2006/relationships/image" Target="../media/image281.png"/></Relationships>
</file>

<file path=ppt/slides/_rels/slide21.xml.rels><?xml version="1.0" encoding="UTF-8" standalone="yes"?>
<Relationships xmlns="http://schemas.openxmlformats.org/package/2006/relationships"><Relationship Id="rId3" Type="http://schemas.microsoft.com/office/2014/relationships/chartEx" Target="../charts/chartEx41.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311.png"/><Relationship Id="rId5" Type="http://schemas.microsoft.com/office/2014/relationships/chartEx" Target="../charts/chartEx42.xml"/><Relationship Id="rId4" Type="http://schemas.openxmlformats.org/officeDocument/2006/relationships/image" Target="../media/image301.png"/></Relationships>
</file>

<file path=ppt/slides/_rels/slide22.xml.rels><?xml version="1.0" encoding="UTF-8" standalone="yes"?>
<Relationships xmlns="http://schemas.openxmlformats.org/package/2006/relationships"><Relationship Id="rId3" Type="http://schemas.microsoft.com/office/2014/relationships/chartEx" Target="../charts/chartEx43.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331.png"/><Relationship Id="rId5" Type="http://schemas.microsoft.com/office/2014/relationships/chartEx" Target="../charts/chartEx44.xml"/><Relationship Id="rId4" Type="http://schemas.openxmlformats.org/officeDocument/2006/relationships/image" Target="../media/image321.png"/></Relationships>
</file>

<file path=ppt/slides/_rels/slide23.xml.rels><?xml version="1.0" encoding="UTF-8" standalone="yes"?>
<Relationships xmlns="http://schemas.openxmlformats.org/package/2006/relationships"><Relationship Id="rId3" Type="http://schemas.microsoft.com/office/2014/relationships/chartEx" Target="../charts/chartEx4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351.png"/><Relationship Id="rId5" Type="http://schemas.microsoft.com/office/2014/relationships/chartEx" Target="../charts/chartEx46.xml"/><Relationship Id="rId4" Type="http://schemas.openxmlformats.org/officeDocument/2006/relationships/image" Target="../media/image341.png"/></Relationships>
</file>

<file path=ppt/slides/_rels/slide24.xml.rels><?xml version="1.0" encoding="UTF-8" standalone="yes"?>
<Relationships xmlns="http://schemas.openxmlformats.org/package/2006/relationships"><Relationship Id="rId3" Type="http://schemas.microsoft.com/office/2014/relationships/chartEx" Target="../charts/chartEx47.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371.png"/><Relationship Id="rId5" Type="http://schemas.microsoft.com/office/2014/relationships/chartEx" Target="../charts/chartEx48.xml"/><Relationship Id="rId4" Type="http://schemas.openxmlformats.org/officeDocument/2006/relationships/image" Target="../media/image361.png"/></Relationships>
</file>

<file path=ppt/slides/_rels/slide25.xml.rels><?xml version="1.0" encoding="UTF-8" standalone="yes"?>
<Relationships xmlns="http://schemas.openxmlformats.org/package/2006/relationships"><Relationship Id="rId3" Type="http://schemas.microsoft.com/office/2014/relationships/chartEx" Target="../charts/chartEx49.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461.png"/><Relationship Id="rId5" Type="http://schemas.microsoft.com/office/2014/relationships/chartEx" Target="../charts/chartEx50.xml"/><Relationship Id="rId4" Type="http://schemas.openxmlformats.org/officeDocument/2006/relationships/image" Target="../media/image451.png"/></Relationships>
</file>

<file path=ppt/slides/_rels/slide26.xml.rels><?xml version="1.0" encoding="UTF-8" standalone="yes"?>
<Relationships xmlns="http://schemas.openxmlformats.org/package/2006/relationships"><Relationship Id="rId3" Type="http://schemas.microsoft.com/office/2014/relationships/chartEx" Target="../charts/chartEx51.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481.png"/><Relationship Id="rId5" Type="http://schemas.microsoft.com/office/2014/relationships/chartEx" Target="../charts/chartEx52.xml"/><Relationship Id="rId4" Type="http://schemas.openxmlformats.org/officeDocument/2006/relationships/image" Target="../media/image471.png"/></Relationships>
</file>

<file path=ppt/slides/_rels/slide27.xml.rels><?xml version="1.0" encoding="UTF-8" standalone="yes"?>
<Relationships xmlns="http://schemas.openxmlformats.org/package/2006/relationships"><Relationship Id="rId3" Type="http://schemas.microsoft.com/office/2014/relationships/chartEx" Target="../charts/chartEx53.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501.png"/><Relationship Id="rId5" Type="http://schemas.microsoft.com/office/2014/relationships/chartEx" Target="../charts/chartEx54.xml"/><Relationship Id="rId4" Type="http://schemas.openxmlformats.org/officeDocument/2006/relationships/image" Target="../media/image491.png"/></Relationships>
</file>

<file path=ppt/slides/_rels/slide28.xml.rels><?xml version="1.0" encoding="UTF-8" standalone="yes"?>
<Relationships xmlns="http://schemas.openxmlformats.org/package/2006/relationships"><Relationship Id="rId3" Type="http://schemas.microsoft.com/office/2014/relationships/chartEx" Target="../charts/chartEx55.xm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21.png"/><Relationship Id="rId5" Type="http://schemas.microsoft.com/office/2014/relationships/chartEx" Target="../charts/chartEx56.xml"/><Relationship Id="rId4" Type="http://schemas.openxmlformats.org/officeDocument/2006/relationships/image" Target="../media/image511.png"/></Relationships>
</file>

<file path=ppt/slides/_rels/slide29.xml.rels><?xml version="1.0" encoding="UTF-8" standalone="yes"?>
<Relationships xmlns="http://schemas.openxmlformats.org/package/2006/relationships"><Relationship Id="rId3" Type="http://schemas.microsoft.com/office/2014/relationships/chartEx" Target="../charts/chartEx57.xm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40.png"/><Relationship Id="rId5" Type="http://schemas.microsoft.com/office/2014/relationships/chartEx" Target="../charts/chartEx58.xml"/><Relationship Id="rId4" Type="http://schemas.openxmlformats.org/officeDocument/2006/relationships/image" Target="../media/image530.png"/></Relationships>
</file>

<file path=ppt/slides/_rels/slide3.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3.png"/><Relationship Id="rId5" Type="http://schemas.microsoft.com/office/2014/relationships/chartEx" Target="../charts/chartEx6.xml"/><Relationship Id="rId4" Type="http://schemas.openxmlformats.org/officeDocument/2006/relationships/image" Target="../media/image32.png"/></Relationships>
</file>

<file path=ppt/slides/_rels/slide30.xml.rels><?xml version="1.0" encoding="UTF-8" standalone="yes"?>
<Relationships xmlns="http://schemas.openxmlformats.org/package/2006/relationships"><Relationship Id="rId3" Type="http://schemas.microsoft.com/office/2014/relationships/chartEx" Target="../charts/chartEx59.xm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4300.png"/><Relationship Id="rId5" Type="http://schemas.microsoft.com/office/2014/relationships/chartEx" Target="../charts/chartEx60.xml"/><Relationship Id="rId4" Type="http://schemas.openxmlformats.org/officeDocument/2006/relationships/image" Target="../media/image4200.png"/></Relationships>
</file>

<file path=ppt/slides/_rels/slide31.xml.rels><?xml version="1.0" encoding="UTF-8" standalone="yes"?>
<Relationships xmlns="http://schemas.openxmlformats.org/package/2006/relationships"><Relationship Id="rId3" Type="http://schemas.microsoft.com/office/2014/relationships/chartEx" Target="../charts/chartEx61.xm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450.png"/><Relationship Id="rId5" Type="http://schemas.microsoft.com/office/2014/relationships/chartEx" Target="../charts/chartEx62.xml"/><Relationship Id="rId4" Type="http://schemas.openxmlformats.org/officeDocument/2006/relationships/image" Target="../media/image4400.png"/></Relationships>
</file>

<file path=ppt/slides/_rels/slide32.xml.rels><?xml version="1.0" encoding="UTF-8" standalone="yes"?>
<Relationships xmlns="http://schemas.openxmlformats.org/package/2006/relationships"><Relationship Id="rId3" Type="http://schemas.microsoft.com/office/2014/relationships/chartEx" Target="../charts/chartEx63.xm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470.png"/><Relationship Id="rId5" Type="http://schemas.microsoft.com/office/2014/relationships/chartEx" Target="../charts/chartEx64.xml"/><Relationship Id="rId4" Type="http://schemas.openxmlformats.org/officeDocument/2006/relationships/image" Target="../media/image460.png"/></Relationships>
</file>

<file path=ppt/slides/_rels/slide33.xml.rels><?xml version="1.0" encoding="UTF-8" standalone="yes"?>
<Relationships xmlns="http://schemas.openxmlformats.org/package/2006/relationships"><Relationship Id="rId3" Type="http://schemas.microsoft.com/office/2014/relationships/chartEx" Target="../charts/chartEx65.xm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490.png"/><Relationship Id="rId5" Type="http://schemas.microsoft.com/office/2014/relationships/chartEx" Target="../charts/chartEx66.xml"/><Relationship Id="rId4" Type="http://schemas.openxmlformats.org/officeDocument/2006/relationships/image" Target="../media/image480.png"/></Relationships>
</file>

<file path=ppt/slides/_rels/slide34.xml.rels><?xml version="1.0" encoding="UTF-8" standalone="yes"?>
<Relationships xmlns="http://schemas.openxmlformats.org/package/2006/relationships"><Relationship Id="rId3" Type="http://schemas.microsoft.com/office/2014/relationships/chartEx" Target="../charts/chartEx67.xm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510.png"/><Relationship Id="rId5" Type="http://schemas.microsoft.com/office/2014/relationships/chartEx" Target="../charts/chartEx68.xml"/><Relationship Id="rId4" Type="http://schemas.openxmlformats.org/officeDocument/2006/relationships/image" Target="../media/image500.png"/></Relationships>
</file>

<file path=ppt/slides/_rels/slide4.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5.png"/><Relationship Id="rId5" Type="http://schemas.microsoft.com/office/2014/relationships/chartEx" Target="../charts/chartEx8.xml"/><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7.png"/><Relationship Id="rId5" Type="http://schemas.microsoft.com/office/2014/relationships/chartEx" Target="../charts/chartEx10.xml"/><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microsoft.com/office/2014/relationships/chartEx" Target="../charts/chartEx1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9.png"/><Relationship Id="rId5" Type="http://schemas.microsoft.com/office/2014/relationships/chartEx" Target="../charts/chartEx12.xml"/><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microsoft.com/office/2014/relationships/chartEx" Target="../charts/chartEx13.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1.png"/><Relationship Id="rId5" Type="http://schemas.microsoft.com/office/2014/relationships/chartEx" Target="../charts/chartEx14.xml"/><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microsoft.com/office/2014/relationships/chartEx" Target="../charts/chartEx15.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90.png"/><Relationship Id="rId5" Type="http://schemas.microsoft.com/office/2014/relationships/chartEx" Target="../charts/chartEx16.xml"/><Relationship Id="rId4" Type="http://schemas.openxmlformats.org/officeDocument/2006/relationships/image" Target="../media/image380.png"/></Relationships>
</file>

<file path=ppt/slides/_rels/slide9.xml.rels><?xml version="1.0" encoding="UTF-8" standalone="yes"?>
<Relationships xmlns="http://schemas.openxmlformats.org/package/2006/relationships"><Relationship Id="rId3" Type="http://schemas.microsoft.com/office/2014/relationships/chartEx" Target="../charts/chartEx17.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5.png"/><Relationship Id="rId5" Type="http://schemas.microsoft.com/office/2014/relationships/chartEx" Target="../charts/chartEx18.xml"/><Relationship Id="rId4"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6789909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72326601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811032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81176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7560101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29155620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5950113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49229702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08537480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448706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57499838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3441943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053029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80270005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3973978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646420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99505791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2093911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70330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9148922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22750240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733036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7808786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196495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15886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2021634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2371168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4489399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8377668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1097989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9947680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04065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3412155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40300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908150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5798437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578057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373880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3990201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8348580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296175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512649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4174246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5200153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0790943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800373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305700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227430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01054807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3/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97004341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296922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5667BE911CCE24EB6051DF6C6CB7398" ma:contentTypeVersion="3" ma:contentTypeDescription="Create a new document." ma:contentTypeScope="" ma:versionID="66f93931b36c2aea2ed22203bf5c0dfc">
  <xsd:schema xmlns:xsd="http://www.w3.org/2001/XMLSchema" xmlns:xs="http://www.w3.org/2001/XMLSchema" xmlns:p="http://schemas.microsoft.com/office/2006/metadata/properties" xmlns:ns2="830b7506-6cf4-4077-b790-07ffa6f7f726" targetNamespace="http://schemas.microsoft.com/office/2006/metadata/properties" ma:root="true" ma:fieldsID="d7051deeeffb0228e05be09b0cb7c453" ns2:_="">
    <xsd:import namespace="830b7506-6cf4-4077-b790-07ffa6f7f726"/>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0b7506-6cf4-4077-b790-07ffa6f7f7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2.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27BDD27F-CF74-4F84-B019-9A5916D102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0b7506-6cf4-4077-b790-07ffa6f7f7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81</TotalTime>
  <Words>1866</Words>
  <Application>Microsoft Office PowerPoint</Application>
  <PresentationFormat>On-screen Show (16:9)</PresentationFormat>
  <Paragraphs>272</Paragraphs>
  <Slides>34</Slides>
  <Notes>3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3"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48</cp:revision>
  <dcterms:created xsi:type="dcterms:W3CDTF">2024-07-05T07:54:38Z</dcterms:created>
  <dcterms:modified xsi:type="dcterms:W3CDTF">2025-09-03T16:1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667BE911CCE24EB6051DF6C6CB7398</vt:lpwstr>
  </property>
  <property fmtid="{D5CDD505-2E9C-101B-9397-08002B2CF9AE}" pid="3" name="MediaServiceImageTags">
    <vt:lpwstr/>
  </property>
</Properties>
</file>